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7" r:id="rId2"/>
    <p:sldId id="840" r:id="rId3"/>
    <p:sldId id="1517" r:id="rId4"/>
    <p:sldId id="1649" r:id="rId5"/>
    <p:sldId id="1647" r:id="rId6"/>
    <p:sldId id="1648" r:id="rId7"/>
    <p:sldId id="692" r:id="rId8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66">
          <p15:clr>
            <a:srgbClr val="A4A3A4"/>
          </p15:clr>
        </p15:guide>
        <p15:guide id="2" pos="3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3B"/>
    <a:srgbClr val="002A9E"/>
    <a:srgbClr val="00A49E"/>
    <a:srgbClr val="A4B1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0BB0C7-EC40-C450-3053-FC92925B748D}" v="38" dt="2023-11-21T07:06:35.116"/>
    <p1510:client id="{111E0877-99C1-057A-D996-73CE23A755F0}" v="162" dt="2023-11-16T13:23:45.564"/>
    <p1510:client id="{AD31366B-C2D3-B386-FDB3-07A83C0DAA8D}" v="378" dt="2023-11-17T12:26:25.232"/>
    <p1510:client id="{BEBAF8A2-345E-493F-992B-56F5D7FB0AC3}" v="1" dt="2023-11-16T13:13:15.617"/>
    <p1510:client id="{D39D59A1-20B2-6264-A00D-6942B0F08670}" v="1259" dt="2023-11-17T11:59:01.7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1482" y="90"/>
      </p:cViewPr>
      <p:guideLst>
        <p:guide orient="horz" pos="566"/>
        <p:guide pos="33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56D4AE8-9A3E-9A60-E0AF-B410FC11904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221B65-9460-6186-2EC5-3F1729C807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8A278F4-76F1-4F1F-8C5C-7AD4DBA0B256}" type="datetimeFigureOut">
              <a:rPr lang="en-US" altLang="en-US"/>
              <a:pPr/>
              <a:t>11/21/2023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18E57-113C-D8D5-721D-3A9101B60F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207752-6DB5-E206-9DAF-7B70CAA31B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DC06350-1D7A-4508-A1F3-F138CDBE835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>
            <a:extLst>
              <a:ext uri="{FF2B5EF4-FFF2-40B4-BE49-F238E27FC236}">
                <a16:creationId xmlns:a16="http://schemas.microsoft.com/office/drawing/2014/main" id="{5086EE83-B42E-D34E-C1D3-D6C779FE7CB3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id="{A40E52DD-129E-806A-626F-B3C6DB2F7BEA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7A4E193-86A6-45AA-9806-FC65B82263A9}" type="datetimeFigureOut">
              <a:rPr lang="en-US" altLang="en-US"/>
              <a:pPr/>
              <a:t>11/21/2023</a:t>
            </a:fld>
            <a:endParaRPr lang="en-US" altLang="en-US"/>
          </a:p>
        </p:txBody>
      </p:sp>
      <p:sp>
        <p:nvSpPr>
          <p:cNvPr id="12292" name="Rectangle 4">
            <a:extLst>
              <a:ext uri="{FF2B5EF4-FFF2-40B4-BE49-F238E27FC236}">
                <a16:creationId xmlns:a16="http://schemas.microsoft.com/office/drawing/2014/main" id="{3EF5E8B3-BFFE-93D9-BCFE-765F90DEAD68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5" name="Rectangle 5">
            <a:extLst>
              <a:ext uri="{FF2B5EF4-FFF2-40B4-BE49-F238E27FC236}">
                <a16:creationId xmlns:a16="http://schemas.microsoft.com/office/drawing/2014/main" id="{F1BDA76B-4E0D-DDF1-8EF9-01ADA7169A55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726" name="Rectangle 6">
            <a:extLst>
              <a:ext uri="{FF2B5EF4-FFF2-40B4-BE49-F238E27FC236}">
                <a16:creationId xmlns:a16="http://schemas.microsoft.com/office/drawing/2014/main" id="{9184A7E6-F5F1-CE7A-E37C-8DD3AEB064D8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27" name="Rectangle 7">
            <a:extLst>
              <a:ext uri="{FF2B5EF4-FFF2-40B4-BE49-F238E27FC236}">
                <a16:creationId xmlns:a16="http://schemas.microsoft.com/office/drawing/2014/main" id="{E22678ED-521D-D54F-0B96-91F68A0008B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F09BFD4E-1BDA-4C31-9AF0-0CED5BC2180E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MS PGothic" panose="020B0600070205080204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>
            <a:extLst>
              <a:ext uri="{FF2B5EF4-FFF2-40B4-BE49-F238E27FC236}">
                <a16:creationId xmlns:a16="http://schemas.microsoft.com/office/drawing/2014/main" id="{EAA94542-ABE8-1B13-1DAC-F5D5C79DD7F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8" name="Rectangle 3">
            <a:extLst>
              <a:ext uri="{FF2B5EF4-FFF2-40B4-BE49-F238E27FC236}">
                <a16:creationId xmlns:a16="http://schemas.microsoft.com/office/drawing/2014/main" id="{7F575BEC-615B-48A9-FD33-5E0DAF10DC8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Still under construction using co- funds, DWS grant fully spent, completion certificate to be handed in December 2023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9BFD4E-1BDA-4C31-9AF0-0CED5BC2180E}" type="slidenum">
              <a:rPr lang="en-US" altLang="en-US"/>
              <a:pPr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41174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Total allocation of R1.2 Billion rands with R350 million spent to date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9BFD4E-1BDA-4C31-9AF0-0CED5BC2180E}" type="slidenum">
              <a:rPr lang="en-US" altLang="en-US"/>
              <a:pPr/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0356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68051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9BB873-30BF-4729-F93A-E3B8E6C910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9D406-4909-E2B4-2A74-C46E2F1AE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25F782-E453-6A37-7F14-990747D75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479B25DF-4886-4EAA-B6CE-FAA20C54B54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0242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84FB2-8790-8AE2-49C7-00F5ADE547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4E9EDA-91B8-24CD-F122-75B143CBA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6B905-14F8-984A-1CDA-18E48DDC6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F18009A1-C929-49A8-AC1E-90A9D7D6C7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97492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66588C1-9077-48FD-99DF-89535B58B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4846" y="635224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E6B949B-FF25-4512-A6F3-1B8E765DDD27}" type="slidenum">
              <a:rPr lang="en-US" altLang="en-US" smtClean="0">
                <a:solidFill>
                  <a:prstClr val="black"/>
                </a:solidFill>
                <a:ea typeface="+mn-e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25005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758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5573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21333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574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6123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6F3A72-65BF-4EA4-6B31-57B602D295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ED8B91-DE9C-B13A-0975-B632FFA39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BCD04C-1596-002D-259F-0191A47A7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0B7C78A8-0CA4-4A40-8516-BECC1F2565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85319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CEBB25-EC6A-AF2E-69C9-2A11AF4290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CEF83F-DB02-F475-AF86-C081DC2EC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E822EB-8B8E-205F-8A4B-ACDE45D77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3F63D9B8-9D42-4E6B-95B0-0E5C04F66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60943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A761E2-3732-5E74-FD4B-04DE91AD61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E3CC263-5DA1-B2C9-373C-C15172DC4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EB5578-40B6-26D3-A2E2-EE0080E49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FFA19CE6-8CCE-4699-9AD4-0D82E753555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5514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BCAB67-37D2-EE11-A224-063A4BC3CC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4098EE-F9DC-9BD6-7A76-571E86B3C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E98F9E-2CB1-2AEF-4A63-DACDCCAAE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35CAA0C7-ABE4-4DE0-BCCB-8951989C3B6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02868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5ABC29-E342-17B6-2A7F-EF69D7075D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127EF4-ED77-B08F-EA9B-E18C34094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A88DFE-6F01-6164-1E8B-3AF619566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5F68FA99-B951-41FA-96DF-E14304397D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69279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498EB5-FB93-3611-A63E-72BDCCC490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F46331-EB86-0685-5104-9AB202FE3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A5B230-DF1B-C87F-4B67-DB19EACEE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4F75641D-2F1C-4B90-A865-169F5049738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96074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D4E9A1-F83A-1B2E-1FED-AD31E4FDB7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6356E8-45B8-370B-035F-0C5DE4718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81CCBC-18F9-174E-5CAC-B9AFA170A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fld id="{05576F81-DC85-4C85-937F-15B0484649D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6002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720" r:id="rId1"/>
    <p:sldLayoutId id="2147484721" r:id="rId2"/>
    <p:sldLayoutId id="2147484722" r:id="rId3"/>
    <p:sldLayoutId id="2147484723" r:id="rId4"/>
    <p:sldLayoutId id="2147484724" r:id="rId5"/>
    <p:sldLayoutId id="2147484725" r:id="rId6"/>
    <p:sldLayoutId id="2147484726" r:id="rId7"/>
    <p:sldLayoutId id="2147484727" r:id="rId8"/>
    <p:sldLayoutId id="2147484728" r:id="rId9"/>
    <p:sldLayoutId id="2147484729" r:id="rId10"/>
    <p:sldLayoutId id="2147484730" r:id="rId11"/>
    <p:sldLayoutId id="2147484731" r:id="rId12"/>
    <p:sldLayoutId id="2147484732" r:id="rId13"/>
    <p:sldLayoutId id="2147484733" r:id="rId14"/>
    <p:sldLayoutId id="2147484734" r:id="rId15"/>
    <p:sldLayoutId id="2147484735" r:id="rId16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HeneB@dws.gov.za" TargetMode="External"/><Relationship Id="rId2" Type="http://schemas.openxmlformats.org/officeDocument/2006/relationships/hyperlink" Target="mailto:mupariwan@dws.gov.za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MnisiM2@dws.gov.za" TargetMode="External"/><Relationship Id="rId5" Type="http://schemas.openxmlformats.org/officeDocument/2006/relationships/hyperlink" Target="mailto:NgoJ@dws.gov.za" TargetMode="External"/><Relationship Id="rId4" Type="http://schemas.openxmlformats.org/officeDocument/2006/relationships/hyperlink" Target="mailto:MashicilaS@dws.gov.za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extBox 4">
            <a:extLst>
              <a:ext uri="{FF2B5EF4-FFF2-40B4-BE49-F238E27FC236}">
                <a16:creationId xmlns:a16="http://schemas.microsoft.com/office/drawing/2014/main" id="{2632125D-CCCC-BF77-7F46-BD9A1810AA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9400" y="1212850"/>
            <a:ext cx="56197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b="1">
                <a:solidFill>
                  <a:schemeClr val="bg1"/>
                </a:solidFill>
              </a:rPr>
              <a:t>PRESENTATION TITLE</a:t>
            </a:r>
          </a:p>
        </p:txBody>
      </p:sp>
      <p:sp>
        <p:nvSpPr>
          <p:cNvPr id="13314" name="TextBox 9">
            <a:extLst>
              <a:ext uri="{FF2B5EF4-FFF2-40B4-BE49-F238E27FC236}">
                <a16:creationId xmlns:a16="http://schemas.microsoft.com/office/drawing/2014/main" id="{E284CC75-1BC8-9175-3F69-93835109DA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9400" y="2298700"/>
            <a:ext cx="56197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200">
                <a:solidFill>
                  <a:schemeClr val="bg1"/>
                </a:solidFill>
              </a:rPr>
              <a:t>Presented by:	Name Surname</a:t>
            </a:r>
          </a:p>
          <a:p>
            <a:pPr eaLnBrk="1" hangingPunct="1"/>
            <a:r>
              <a:rPr lang="en-US" altLang="en-US" sz="1200">
                <a:solidFill>
                  <a:schemeClr val="bg1"/>
                </a:solidFill>
              </a:rPr>
              <a:t>Designation:		Director</a:t>
            </a:r>
          </a:p>
          <a:p>
            <a:pPr eaLnBrk="1" hangingPunct="1"/>
            <a:r>
              <a:rPr lang="en-US" altLang="en-US" sz="1200">
                <a:solidFill>
                  <a:schemeClr val="bg1"/>
                </a:solidFill>
              </a:rPr>
              <a:t>Directorate:		Communication Services</a:t>
            </a:r>
          </a:p>
          <a:p>
            <a:pPr eaLnBrk="1" hangingPunct="1"/>
            <a:endParaRPr lang="en-US" altLang="en-US" sz="1200">
              <a:solidFill>
                <a:schemeClr val="bg1"/>
              </a:solidFill>
            </a:endParaRPr>
          </a:p>
          <a:p>
            <a:pPr eaLnBrk="1" hangingPunct="1"/>
            <a:r>
              <a:rPr lang="en-US" altLang="en-US" sz="1200">
                <a:solidFill>
                  <a:schemeClr val="bg1"/>
                </a:solidFill>
              </a:rPr>
              <a:t>Date:			15 April 2019</a:t>
            </a:r>
          </a:p>
        </p:txBody>
      </p:sp>
      <p:pic>
        <p:nvPicPr>
          <p:cNvPr id="13315" name="Picture 2">
            <a:extLst>
              <a:ext uri="{FF2B5EF4-FFF2-40B4-BE49-F238E27FC236}">
                <a16:creationId xmlns:a16="http://schemas.microsoft.com/office/drawing/2014/main" id="{5841F577-545D-FC43-CB7B-7FD20EB72B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4300"/>
            <a:ext cx="92535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TextBox 4">
            <a:extLst>
              <a:ext uri="{FF2B5EF4-FFF2-40B4-BE49-F238E27FC236}">
                <a16:creationId xmlns:a16="http://schemas.microsoft.com/office/drawing/2014/main" id="{B5C8AD5A-243F-79A3-2330-57162E3E42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8989" y="2437368"/>
            <a:ext cx="56197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</a:rPr>
              <a:t>DWS CONTRIBUTION TO THE GARDEN ROUTE</a:t>
            </a:r>
          </a:p>
        </p:txBody>
      </p:sp>
      <p:sp>
        <p:nvSpPr>
          <p:cNvPr id="13317" name="TextBox 9">
            <a:extLst>
              <a:ext uri="{FF2B5EF4-FFF2-40B4-BE49-F238E27FC236}">
                <a16:creationId xmlns:a16="http://schemas.microsoft.com/office/drawing/2014/main" id="{D2459234-47EE-0C51-59A0-B8C8B1C6D2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352" y="3448593"/>
            <a:ext cx="560319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Arial"/>
                <a:ea typeface="MS PGothic"/>
                <a:cs typeface="Arial"/>
              </a:rPr>
              <a:t>Presented by:	Sabelo </a:t>
            </a:r>
            <a:r>
              <a:rPr lang="en-US" altLang="en-US" sz="1200" dirty="0" err="1">
                <a:solidFill>
                  <a:schemeClr val="bg1"/>
                </a:solidFill>
                <a:latin typeface="Arial"/>
                <a:ea typeface="MS PGothic"/>
                <a:cs typeface="Arial"/>
              </a:rPr>
              <a:t>Magaqana</a:t>
            </a:r>
          </a:p>
          <a:p>
            <a:endParaRPr lang="en-US" altLang="en-US" sz="1200" dirty="0">
              <a:solidFill>
                <a:schemeClr val="bg1"/>
              </a:solidFill>
              <a:latin typeface="Arial"/>
              <a:ea typeface="MS PGothic"/>
              <a:cs typeface="Arial"/>
            </a:endParaRPr>
          </a:p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Arial"/>
                <a:ea typeface="MS PGothic"/>
                <a:cs typeface="Arial"/>
              </a:rPr>
              <a:t>Directorate:		Water and Sanitation Services Support</a:t>
            </a:r>
          </a:p>
          <a:p>
            <a:pPr eaLnBrk="1" hangingPunct="1"/>
            <a:endParaRPr lang="en-US" altLang="en-US" sz="1200">
              <a:solidFill>
                <a:schemeClr val="bg1"/>
              </a:solidFill>
            </a:endParaRPr>
          </a:p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Arial"/>
                <a:ea typeface="MS PGothic"/>
                <a:cs typeface="Arial"/>
              </a:rPr>
              <a:t>Date:			23 November 2023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61684D2D-C073-88E3-E01D-5B04D37217DC}"/>
              </a:ext>
            </a:extLst>
          </p:cNvPr>
          <p:cNvSpPr>
            <a:spLocks noGrp="1"/>
          </p:cNvSpPr>
          <p:nvPr/>
        </p:nvSpPr>
        <p:spPr>
          <a:xfrm>
            <a:off x="0" y="554720"/>
            <a:ext cx="8421757" cy="1162878"/>
          </a:xfrm>
          <a:prstGeom prst="rect">
            <a:avLst/>
          </a:prstGeom>
        </p:spPr>
        <p:txBody>
          <a:bodyPr vert="horz" lIns="72000" tIns="0" rIns="72000" bIns="0" rtlCol="0" anchor="ctr">
            <a:normAutofit fontScale="85000" lnSpcReduction="20000"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36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DP/Budget/PMS Rep Forum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2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3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epartment of Water and Sanitation</a:t>
            </a:r>
            <a:endParaRPr kumimoji="0" lang="en-ZA" sz="2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8026"/>
            <a:ext cx="8229600" cy="519470"/>
          </a:xfrm>
          <a:solidFill>
            <a:schemeClr val="accent1"/>
          </a:solidFill>
        </p:spPr>
        <p:txBody>
          <a:bodyPr/>
          <a:lstStyle/>
          <a:p>
            <a:r>
              <a:rPr lang="en-ZA" sz="2400" b="1">
                <a:solidFill>
                  <a:schemeClr val="bg1"/>
                </a:solidFill>
              </a:rPr>
              <a:t>DWS</a:t>
            </a:r>
            <a:r>
              <a:rPr lang="en-ZA" sz="2000" b="1">
                <a:solidFill>
                  <a:schemeClr val="bg1"/>
                </a:solidFill>
              </a:rPr>
              <a:t> CONTRIBUTION TO THE GARDEN ROU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3514" y="854330"/>
            <a:ext cx="8556972" cy="5755087"/>
          </a:xfrm>
        </p:spPr>
        <p:txBody>
          <a:bodyPr/>
          <a:lstStyle/>
          <a:p>
            <a:pPr marL="0" lvl="1" indent="0" algn="just">
              <a:buNone/>
            </a:pPr>
            <a:r>
              <a:rPr lang="en-US" sz="1400"/>
              <a:t>The DWS is implementing several programmes and projects towards socioeconomic upliftment of communities within Garden Route District. These programmes &amp; projects include the </a:t>
            </a:r>
            <a:r>
              <a:rPr lang="en-US" sz="1400" b="1"/>
              <a:t>advocacy &amp; awareness </a:t>
            </a:r>
            <a:r>
              <a:rPr lang="en-US" sz="1400" b="1" err="1"/>
              <a:t>programmes</a:t>
            </a:r>
            <a:r>
              <a:rPr lang="en-US" sz="1400" b="1"/>
              <a:t>, capacity building</a:t>
            </a:r>
            <a:r>
              <a:rPr lang="en-US" sz="1400"/>
              <a:t> as well as </a:t>
            </a:r>
            <a:r>
              <a:rPr lang="en-US" sz="1400" b="1"/>
              <a:t>infrastructure build programmes.</a:t>
            </a:r>
            <a:r>
              <a:rPr lang="en-US" sz="1400"/>
              <a:t>    </a:t>
            </a:r>
          </a:p>
          <a:p>
            <a:pPr marL="0" lvl="1" indent="0" algn="just">
              <a:buNone/>
            </a:pPr>
            <a:r>
              <a:rPr lang="en-US" sz="1400" b="1"/>
              <a:t>Advocacy &amp; awareness </a:t>
            </a:r>
            <a:r>
              <a:rPr lang="en-US" sz="1400" b="1" err="1"/>
              <a:t>Programme</a:t>
            </a:r>
            <a:endParaRPr lang="en-US" sz="1400" b="1"/>
          </a:p>
          <a:p>
            <a:pPr marL="342900" lvl="1" indent="-342900" algn="just">
              <a:buFont typeface="Wingdings" pitchFamily="2" charset="2"/>
              <a:buChar char="q"/>
            </a:pPr>
            <a:r>
              <a:rPr lang="en-US" sz="1400"/>
              <a:t>Massive water conservation awareness programmes for schools within the Garden Route </a:t>
            </a:r>
          </a:p>
          <a:p>
            <a:pPr marL="342900" lvl="1" indent="-342900" algn="just">
              <a:buFont typeface="Wingdings" pitchFamily="2" charset="2"/>
              <a:buChar char="q"/>
            </a:pPr>
            <a:r>
              <a:rPr lang="en-US" sz="1400"/>
              <a:t>Partnership with media houses to spread to word of water conservation across the GR region, Eden FM &amp; George Herald </a:t>
            </a:r>
          </a:p>
          <a:p>
            <a:pPr marL="342900" lvl="1" indent="-342900" algn="just">
              <a:buFont typeface="Wingdings" pitchFamily="2" charset="2"/>
              <a:buChar char="q"/>
            </a:pPr>
            <a:r>
              <a:rPr lang="en-US" sz="1400"/>
              <a:t>Conducted the </a:t>
            </a:r>
            <a:r>
              <a:rPr lang="en-US" sz="1400" err="1"/>
              <a:t>Councillor</a:t>
            </a:r>
            <a:r>
              <a:rPr lang="en-US" sz="1400"/>
              <a:t> Induction Training on Water and Sanitation in collaboration with SALGA </a:t>
            </a:r>
          </a:p>
          <a:p>
            <a:pPr marL="342900" lvl="1" indent="-342900" algn="just">
              <a:buFont typeface="Wingdings" pitchFamily="2" charset="2"/>
              <a:buChar char="q"/>
            </a:pPr>
            <a:r>
              <a:rPr lang="en-US" sz="1400"/>
              <a:t>Public consultation on National Sanitation Implementation Plan (NSIP)</a:t>
            </a:r>
          </a:p>
          <a:p>
            <a:pPr marL="342900" lvl="1" indent="-342900" algn="just">
              <a:buFont typeface="Wingdings" pitchFamily="2" charset="2"/>
              <a:buChar char="q"/>
            </a:pPr>
            <a:r>
              <a:rPr lang="en-US" sz="1400"/>
              <a:t>Public Consultation on the Policy on Water and Sanitation Services on Privately Owned Land</a:t>
            </a:r>
          </a:p>
          <a:p>
            <a:pPr marL="342900" lvl="1" indent="-342900" algn="just">
              <a:buFont typeface="Wingdings" pitchFamily="2" charset="2"/>
              <a:buChar char="q"/>
            </a:pPr>
            <a:endParaRPr lang="en-US" sz="1400"/>
          </a:p>
          <a:p>
            <a:pPr marL="0" lvl="1" indent="0" algn="just">
              <a:buNone/>
            </a:pPr>
            <a:endParaRPr lang="en-US" sz="1400"/>
          </a:p>
          <a:p>
            <a:pPr marL="0" lvl="1" indent="0" algn="just">
              <a:buNone/>
            </a:pPr>
            <a:endParaRPr lang="en-ZA" sz="1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E6B949B-FF25-4512-A6F3-1B8E765DDD27}" type="slidenum">
              <a:rPr lang="en-US" altLang="en-US" smtClean="0">
                <a:solidFill>
                  <a:prstClr val="black"/>
                </a:solidFill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445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>
            <a:extLst>
              <a:ext uri="{FF2B5EF4-FFF2-40B4-BE49-F238E27FC236}">
                <a16:creationId xmlns:a16="http://schemas.microsoft.com/office/drawing/2014/main" id="{94D5F592-BAB2-4CE1-98B3-ED889586B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879" y="523360"/>
            <a:ext cx="8801126" cy="602079"/>
          </a:xfrm>
          <a:solidFill>
            <a:schemeClr val="accent5">
              <a:lumMod val="50000"/>
            </a:schemeClr>
          </a:solidFill>
        </p:spPr>
        <p:txBody>
          <a:bodyPr anchor="t"/>
          <a:lstStyle/>
          <a:p>
            <a:pPr>
              <a:defRPr/>
            </a:pPr>
            <a:r>
              <a:rPr lang="en-ZA" altLang="en-US" sz="2400" b="1">
                <a:solidFill>
                  <a:schemeClr val="bg1"/>
                </a:solidFill>
                <a:ea typeface="ＭＳ Ｐゴシック" pitchFamily="-108" charset="-128"/>
              </a:rPr>
              <a:t>Current Garden Route WSIG Project 2022/2023 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154078BA-92D3-4625-8D95-7CEF4DB330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0339625"/>
              </p:ext>
            </p:extLst>
          </p:nvPr>
        </p:nvGraphicFramePr>
        <p:xfrm>
          <a:off x="284621" y="1240168"/>
          <a:ext cx="8687182" cy="36807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61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53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422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3969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3969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314564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Project name</a:t>
                      </a: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WSA</a:t>
                      </a:r>
                      <a:endParaRPr lang="en-ZA" sz="1400" b="1" kern="120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022/23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Main Allocation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R”000</a:t>
                      </a: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Expenditure</a:t>
                      </a:r>
                      <a:endParaRPr lang="en-ZA" sz="1400" b="1" kern="120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Progress</a:t>
                      </a: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Socio economic impact</a:t>
                      </a:r>
                    </a:p>
                  </a:txBody>
                  <a:tcPr marL="68580" marR="68580" marT="34284" marB="3428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622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Upgrading of Kurland water sources, water treatment works and bulk supply pipeline</a:t>
                      </a:r>
                      <a:endParaRPr lang="en-ZA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Bitou LM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9 079 250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6 579 000</a:t>
                      </a:r>
                      <a:endParaRPr lang="en-ZA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Under c</a:t>
                      </a:r>
                      <a:r>
                        <a:rPr lang="en-ZA" sz="1400" b="0" i="0" u="none" strike="noStrike" err="1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onstruction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Water security for the town 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374837754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>
            <a:extLst>
              <a:ext uri="{FF2B5EF4-FFF2-40B4-BE49-F238E27FC236}">
                <a16:creationId xmlns:a16="http://schemas.microsoft.com/office/drawing/2014/main" id="{94D5F592-BAB2-4CE1-98B3-ED889586B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649" y="523360"/>
            <a:ext cx="9074295" cy="602079"/>
          </a:xfrm>
          <a:solidFill>
            <a:schemeClr val="accent5">
              <a:lumMod val="50000"/>
            </a:schemeClr>
          </a:solidFill>
        </p:spPr>
        <p:txBody>
          <a:bodyPr lIns="91440" tIns="45720" rIns="91440" bIns="45720" anchor="t"/>
          <a:lstStyle/>
          <a:p>
            <a:pPr>
              <a:defRPr/>
            </a:pPr>
            <a:r>
              <a:rPr lang="en-ZA" altLang="en-US" sz="2400" b="1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Current Garden Route WSIG Project 2023/2024 </a:t>
            </a:r>
            <a:endParaRPr lang="en-ZA" altLang="en-US" sz="2400" b="1">
              <a:solidFill>
                <a:schemeClr val="bg1"/>
              </a:solidFill>
              <a:ea typeface="ＭＳ Ｐゴシック" pitchFamily="-108" charset="-128"/>
            </a:endParaRP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154078BA-92D3-4625-8D95-7CEF4DB330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8084486"/>
              </p:ext>
            </p:extLst>
          </p:nvPr>
        </p:nvGraphicFramePr>
        <p:xfrm>
          <a:off x="14376" y="1121434"/>
          <a:ext cx="9117678" cy="5297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08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84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56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39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66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0720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916566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Project name</a:t>
                      </a: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WSA</a:t>
                      </a:r>
                      <a:endParaRPr lang="en-ZA" sz="1400" b="1" kern="120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023/24</a:t>
                      </a:r>
                      <a:endParaRPr lang="en-US" sz="1400">
                        <a:latin typeface="Arial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Main Allocation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R”000</a:t>
                      </a: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Expenditure R”000</a:t>
                      </a:r>
                      <a:endParaRPr lang="en-ZA" sz="1400" b="1" kern="120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Progres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kern="120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4284" marB="34284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Socio economic impact</a:t>
                      </a:r>
                    </a:p>
                  </a:txBody>
                  <a:tcPr marL="68580" marR="68580" marT="34284" marB="3428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057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urbishment and upgrading of </a:t>
                      </a:r>
                      <a:r>
                        <a:rPr lang="en-US" sz="14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dismith</a:t>
                      </a: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astewater treatment works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annaland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 000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500 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Planning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Improve the quality of the effluent and Green Drop Status Improvement. </a:t>
                      </a: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3748377541"/>
                  </a:ext>
                </a:extLst>
              </a:tr>
              <a:tr h="634546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lein Karoo Rural Water Supply Scheme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udtshoorn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 000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0 000 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Construction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Water security for the town.</a:t>
                      </a: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4075102069"/>
                  </a:ext>
                </a:extLst>
              </a:tr>
              <a:tr h="799058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urbishment of </a:t>
                      </a:r>
                      <a:r>
                        <a:rPr lang="en-US" sz="14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bertinia</a:t>
                      </a: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ater treatment works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essequa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 300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800 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truction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 security for the town.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2126035648"/>
                  </a:ext>
                </a:extLst>
              </a:tr>
              <a:tr h="84606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pgrading of </a:t>
                      </a:r>
                      <a:r>
                        <a:rPr lang="en-US" sz="14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hembalethu</a:t>
                      </a: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UISP bulk sewer mains: phase 4 (old all brick area)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orge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820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00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lanning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 baseline="0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mprove the quality of the effluent and Green Drop Status Improvement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3889650303"/>
                  </a:ext>
                </a:extLst>
              </a:tr>
              <a:tr h="1057576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nysna: </a:t>
                      </a:r>
                      <a:r>
                        <a:rPr lang="en-US" sz="14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rnley</a:t>
                      </a: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ownship- Replacement and rehabilitation of existing water network , phase 2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nysna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400</a:t>
                      </a:r>
                      <a:endParaRPr lang="en-US" sz="1400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 500</a:t>
                      </a: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truction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 security for the town.</a:t>
                      </a:r>
                      <a:endParaRPr lang="en-US" sz="1400">
                        <a:latin typeface="Arial"/>
                      </a:endParaRP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4041579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3150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>
            <a:extLst>
              <a:ext uri="{FF2B5EF4-FFF2-40B4-BE49-F238E27FC236}">
                <a16:creationId xmlns:a16="http://schemas.microsoft.com/office/drawing/2014/main" id="{83786641-8013-4668-AB66-5C5178A4A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108" y="615300"/>
            <a:ext cx="7939958" cy="942975"/>
          </a:xfrm>
          <a:solidFill>
            <a:schemeClr val="accent5">
              <a:lumMod val="50000"/>
            </a:schemeClr>
          </a:solidFill>
        </p:spPr>
        <p:txBody>
          <a:bodyPr lIns="91440" tIns="45720" rIns="91440" bIns="45720" anchor="t"/>
          <a:lstStyle/>
          <a:p>
            <a:pPr>
              <a:defRPr/>
            </a:pPr>
            <a:r>
              <a:rPr lang="en-ZA" sz="2400" b="1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BFI</a:t>
            </a:r>
            <a:r>
              <a:rPr kumimoji="0" lang="en-ZA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 5B PROJECTS</a:t>
            </a:r>
            <a:r>
              <a:rPr lang="en-ZA" sz="2400" b="1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 PROGRESS</a:t>
            </a:r>
            <a:r>
              <a:rPr kumimoji="0" lang="en-ZA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 IN 2023/24</a:t>
            </a:r>
            <a:endParaRPr lang="en-ZA" altLang="en-US" sz="2400">
              <a:solidFill>
                <a:schemeClr val="bg1"/>
              </a:solidFill>
              <a:latin typeface="Arial"/>
              <a:ea typeface="ＭＳ Ｐゴシック"/>
              <a:cs typeface="Arial"/>
            </a:endParaRP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FF9C9FF5-46D5-4975-BE86-1F5E1DD501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2606876"/>
              </p:ext>
            </p:extLst>
          </p:nvPr>
        </p:nvGraphicFramePr>
        <p:xfrm>
          <a:off x="590109" y="1598729"/>
          <a:ext cx="8040421" cy="21382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64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24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63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651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917930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roject name</a:t>
                      </a:r>
                    </a:p>
                  </a:txBody>
                  <a:tcPr marL="68580" marR="68580" marT="34283" marB="34283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Benefiting Municipality</a:t>
                      </a:r>
                      <a:endParaRPr lang="en-ZA" sz="1400" b="1" kern="120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4283" marB="34283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023/24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ain Allocation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”000</a:t>
                      </a:r>
                    </a:p>
                  </a:txBody>
                  <a:tcPr marL="68580" marR="68580" marT="34283" marB="34283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Socio economic impact</a:t>
                      </a:r>
                    </a:p>
                  </a:txBody>
                  <a:tcPr marL="68580" marR="68580" marT="34283" marB="3428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0311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ZA" sz="14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George Portable Water Security and Remedial works.</a:t>
                      </a:r>
                      <a:endParaRPr lang="en-US"/>
                    </a:p>
                    <a:p>
                      <a:pPr lvl="0" algn="l">
                        <a:buNone/>
                      </a:pPr>
                      <a:endParaRPr lang="en-ZA" sz="1400" b="0" i="0" u="none" strike="noStrike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George LM</a:t>
                      </a:r>
                    </a:p>
                    <a:p>
                      <a:pPr algn="l" fontAlgn="b"/>
                      <a:endParaRPr lang="en-ZA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GB" sz="14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494 138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endParaRPr lang="en-GB" sz="140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1996" marR="1996" marT="1996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Water security for the town and unlocking Economical development.</a:t>
                      </a:r>
                    </a:p>
                  </a:txBody>
                  <a:tcPr marL="1996" marR="1996" marT="1996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9828EFE-34D1-4280-A29B-316C08487D64}"/>
              </a:ext>
            </a:extLst>
          </p:cNvPr>
          <p:cNvSpPr txBox="1"/>
          <p:nvPr/>
        </p:nvSpPr>
        <p:spPr>
          <a:xfrm>
            <a:off x="704850" y="3930430"/>
            <a:ext cx="7886700" cy="160043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ea typeface="MS PGothic"/>
                <a:cs typeface="Arial"/>
              </a:rPr>
              <a:t>The George BFI started in June 2022</a:t>
            </a:r>
            <a:endParaRPr lang="en-US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ea typeface="MS PGothic"/>
                <a:cs typeface="Arial"/>
              </a:rPr>
              <a:t>The project consist of 12 Components/Phases</a:t>
            </a:r>
            <a:endParaRPr lang="en-US" sz="14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ea typeface="MS PGothic"/>
                <a:cs typeface="Arial"/>
              </a:rPr>
              <a:t>Currently the project is at 45 % comple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ea typeface="MS PGothic"/>
                <a:cs typeface="Arial"/>
              </a:rPr>
              <a:t>Phase 5 which was scheduled for the 2024/25 Financial year has been completed in the 2023/24 Financial year due to the impact of loadshed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ea typeface="MS PGothic"/>
                <a:cs typeface="Arial"/>
              </a:rPr>
              <a:t>The project  will be completed in the 2024/25 Financial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/>
          </a:p>
        </p:txBody>
      </p:sp>
    </p:spTree>
    <p:extLst>
      <p:ext uri="{BB962C8B-B14F-4D97-AF65-F5344CB8AC3E}">
        <p14:creationId xmlns:p14="http://schemas.microsoft.com/office/powerpoint/2010/main" val="2045557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C7A5D-FFDA-4652-958D-D92041DEA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55588"/>
            <a:ext cx="8229600" cy="849312"/>
          </a:xfrm>
          <a:solidFill>
            <a:schemeClr val="tx2"/>
          </a:solidFill>
        </p:spPr>
        <p:txBody>
          <a:bodyPr/>
          <a:lstStyle/>
          <a:p>
            <a:r>
              <a:rPr lang="en-ZA" sz="2400" b="1">
                <a:solidFill>
                  <a:schemeClr val="bg1"/>
                </a:solidFill>
              </a:rPr>
              <a:t>Cont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CC0776-9B65-4204-928F-156C59977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3886198"/>
          </a:xfrm>
        </p:spPr>
        <p:txBody>
          <a:bodyPr/>
          <a:lstStyle/>
          <a:p>
            <a:pPr marL="0" indent="0">
              <a:buNone/>
            </a:pPr>
            <a:r>
              <a:rPr lang="en-ZA" sz="1400">
                <a:latin typeface="Arial" panose="020B0604020202020204" pitchFamily="34" charset="0"/>
                <a:cs typeface="Arial" panose="020B0604020202020204" pitchFamily="34" charset="0"/>
              </a:rPr>
              <a:t>Ms Ntombizanele Bila-</a:t>
            </a:r>
            <a:r>
              <a:rPr lang="en-ZA" sz="1400" err="1">
                <a:latin typeface="Arial" panose="020B0604020202020204" pitchFamily="34" charset="0"/>
                <a:cs typeface="Arial" panose="020B0604020202020204" pitchFamily="34" charset="0"/>
              </a:rPr>
              <a:t>Mupariwa</a:t>
            </a:r>
            <a:r>
              <a:rPr lang="en-ZA" sz="1400">
                <a:latin typeface="Arial" panose="020B0604020202020204" pitchFamily="34" charset="0"/>
                <a:cs typeface="Arial" panose="020B0604020202020204" pitchFamily="34" charset="0"/>
              </a:rPr>
              <a:t>: Provincial Head- Western Cape</a:t>
            </a:r>
          </a:p>
          <a:p>
            <a:r>
              <a:rPr lang="en-ZA" sz="14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mupariwan@dws.gov.za</a:t>
            </a:r>
            <a:r>
              <a:rPr lang="en-ZA" sz="14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021 941 6004/ 082 851 1671</a:t>
            </a:r>
          </a:p>
          <a:p>
            <a:pPr marL="0" indent="0">
              <a:buNone/>
            </a:pPr>
            <a:endParaRPr lang="en-ZA" sz="140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ZA" sz="1400"/>
              <a:t>Ms Boniswa Hene- Director: Water Services Regulation</a:t>
            </a:r>
          </a:p>
          <a:p>
            <a:r>
              <a:rPr lang="en-ZA" sz="1400">
                <a:hlinkClick r:id="rId3"/>
              </a:rPr>
              <a:t>HeneB@dws.gov.za</a:t>
            </a:r>
            <a:r>
              <a:rPr lang="en-ZA" sz="1400"/>
              <a:t>, 021 941 6266/ 082 874 9381</a:t>
            </a:r>
          </a:p>
          <a:p>
            <a:pPr marL="0" indent="0">
              <a:buNone/>
            </a:pPr>
            <a:endParaRPr lang="en-ZA" sz="1400"/>
          </a:p>
          <a:p>
            <a:pPr marL="0" indent="0">
              <a:buNone/>
            </a:pPr>
            <a:r>
              <a:rPr lang="en-ZA" sz="1400"/>
              <a:t>Mr Simphiwe </a:t>
            </a:r>
            <a:r>
              <a:rPr lang="en-ZA" sz="1400" err="1"/>
              <a:t>Mashicila</a:t>
            </a:r>
            <a:r>
              <a:rPr lang="en-ZA" sz="1400"/>
              <a:t>- Director: Water Services Infrastructure Development</a:t>
            </a:r>
          </a:p>
          <a:p>
            <a:r>
              <a:rPr lang="en-ZA" sz="1400">
                <a:hlinkClick r:id="rId4"/>
              </a:rPr>
              <a:t>MashicilaS@dws.gov.za</a:t>
            </a:r>
            <a:r>
              <a:rPr lang="en-ZA" sz="1400"/>
              <a:t>, 021 941 6223/ 082 805 6039</a:t>
            </a:r>
          </a:p>
          <a:p>
            <a:endParaRPr lang="en-ZA" sz="1400"/>
          </a:p>
          <a:p>
            <a:pPr marL="0" indent="0">
              <a:buNone/>
            </a:pPr>
            <a:r>
              <a:rPr lang="en-ZA" sz="1400"/>
              <a:t>Mr Jacob Ngo:  Acting Director: Water and Sanitation Services Support</a:t>
            </a:r>
          </a:p>
          <a:p>
            <a:r>
              <a:rPr lang="en-ZA" sz="1400">
                <a:hlinkClick r:id="rId5"/>
              </a:rPr>
              <a:t>NgoJ@dws.gov.za</a:t>
            </a:r>
            <a:r>
              <a:rPr lang="en-ZA" sz="1400"/>
              <a:t>, 021 941 6119</a:t>
            </a:r>
          </a:p>
          <a:p>
            <a:endParaRPr lang="en-ZA" sz="1400"/>
          </a:p>
          <a:p>
            <a:pPr marL="0" indent="0">
              <a:buNone/>
            </a:pPr>
            <a:r>
              <a:rPr lang="en-ZA" sz="1400"/>
              <a:t>Mr Mkhevu Mnisi – Director: Water Resources Support</a:t>
            </a:r>
          </a:p>
          <a:p>
            <a:r>
              <a:rPr lang="en-ZA" sz="1400">
                <a:hlinkClick r:id="rId6"/>
              </a:rPr>
              <a:t>MnisiM2@dws.gov.za</a:t>
            </a:r>
            <a:r>
              <a:rPr lang="en-ZA" sz="1400"/>
              <a:t>; 021 941 6120</a:t>
            </a:r>
          </a:p>
          <a:p>
            <a:endParaRPr lang="en-ZA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ZA" sz="14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1BE8F9-E3D5-4C25-BD39-3F5815E8DC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350" kern="1200">
                <a:solidFill>
                  <a:prstClr val="black"/>
                </a:solidFill>
                <a:latin typeface="Calibri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fld id="{E3D12B0B-FBDA-441F-8B67-81267BD21385}" type="datetimeFigureOut">
              <a:rPr lang="en-US" smtClean="0"/>
              <a:pPr>
                <a:defRPr/>
              </a:pPr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DBBA1F-E10E-4CBC-9EC9-9A7291A7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auto">
              <a:spcBef>
                <a:spcPts val="0"/>
              </a:spcBef>
              <a:spcAft>
                <a:spcPts val="0"/>
              </a:spcAft>
              <a:defRPr sz="1350" kern="120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4EEBD4-6687-4BAA-97DC-AF5B5F9BF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26C700-D2E5-4B3A-B4C1-BB3F7F0FF87C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6722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0312"/>
            <a:ext cx="8229600" cy="1143000"/>
          </a:xfrm>
        </p:spPr>
        <p:txBody>
          <a:bodyPr/>
          <a:lstStyle/>
          <a:p>
            <a:r>
              <a:rPr lang="en-ZA" sz="2400" b="1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E6B949B-FF25-4512-A6F3-1B8E765DDD27}" type="slidenum">
              <a:rPr lang="en-US" altLang="en-US" smtClean="0">
                <a:solidFill>
                  <a:prstClr val="black"/>
                </a:solidFill>
                <a:ea typeface="+mn-e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altLang="en-US">
              <a:solidFill>
                <a:prstClr val="black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99351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9</Words>
  <Application>Microsoft Office PowerPoint</Application>
  <PresentationFormat>On-screen Show (4:3)</PresentationFormat>
  <Paragraphs>118</Paragraphs>
  <Slides>7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entury Gothic</vt:lpstr>
      <vt:lpstr>Wingdings</vt:lpstr>
      <vt:lpstr>Office Theme</vt:lpstr>
      <vt:lpstr>PowerPoint Presentation</vt:lpstr>
      <vt:lpstr>DWS CONTRIBUTION TO THE GARDEN ROUTE</vt:lpstr>
      <vt:lpstr>Current Garden Route WSIG Project 2022/2023 </vt:lpstr>
      <vt:lpstr>Current Garden Route WSIG Project 2023/2024 </vt:lpstr>
      <vt:lpstr>BFI 5B PROJECTS PROGRESS IN 2023/24</vt:lpstr>
      <vt:lpstr>Contact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an Maree</dc:creator>
  <cp:lastModifiedBy>Nontokozo Dladla</cp:lastModifiedBy>
  <cp:revision>5</cp:revision>
  <dcterms:created xsi:type="dcterms:W3CDTF">2012-08-01T10:33:21Z</dcterms:created>
  <dcterms:modified xsi:type="dcterms:W3CDTF">2023-11-21T14:04:48Z</dcterms:modified>
</cp:coreProperties>
</file>